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</p:sldMasterIdLst>
  <p:notesMasterIdLst>
    <p:notesMasterId r:id="rId14"/>
  </p:notesMasterIdLst>
  <p:handoutMasterIdLst>
    <p:handoutMasterId r:id="rId15"/>
  </p:handoutMasterIdLst>
  <p:sldIdLst>
    <p:sldId id="273" r:id="rId2"/>
    <p:sldId id="403" r:id="rId3"/>
    <p:sldId id="419" r:id="rId4"/>
    <p:sldId id="418" r:id="rId5"/>
    <p:sldId id="420" r:id="rId6"/>
    <p:sldId id="423" r:id="rId7"/>
    <p:sldId id="424" r:id="rId8"/>
    <p:sldId id="421" r:id="rId9"/>
    <p:sldId id="426" r:id="rId10"/>
    <p:sldId id="425" r:id="rId11"/>
    <p:sldId id="408" r:id="rId12"/>
    <p:sldId id="412" r:id="rId13"/>
  </p:sldIdLst>
  <p:sldSz cx="9906000" cy="6858000" type="A4"/>
  <p:notesSz cx="6797675" cy="9928225"/>
  <p:custDataLst>
    <p:tags r:id="rId1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245" autoAdjust="0"/>
  </p:normalViewPr>
  <p:slideViewPr>
    <p:cSldViewPr>
      <p:cViewPr varScale="1">
        <p:scale>
          <a:sx n="87" d="100"/>
          <a:sy n="87" d="100"/>
        </p:scale>
        <p:origin x="-1332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7.02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966140" y="5617774"/>
            <a:ext cx="7998180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72449" y="1016990"/>
            <a:ext cx="7778044" cy="4831643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1073151" y="1009651"/>
            <a:ext cx="7778044" cy="4831643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833648" y="702069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8533674" y="726098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1134" y="1794935"/>
            <a:ext cx="6200424" cy="1828090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1134" y="3736622"/>
            <a:ext cx="6188194" cy="1524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34899" y="535759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71882" y="5357593"/>
            <a:ext cx="5454415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58" y="5357593"/>
            <a:ext cx="600192" cy="3651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2" y="925691"/>
            <a:ext cx="1550106" cy="476391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06407" y="1106313"/>
            <a:ext cx="5610344" cy="440266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5394" y="2239431"/>
            <a:ext cx="6775214" cy="1362075"/>
          </a:xfrm>
        </p:spPr>
        <p:txBody>
          <a:bodyPr anchor="b"/>
          <a:lstStyle>
            <a:lvl1pPr algn="ctr">
              <a:defRPr sz="4000" b="0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77623" y="3725335"/>
            <a:ext cx="6750756" cy="1309511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406652" y="2121407"/>
            <a:ext cx="3467100" cy="360273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052060" y="2119313"/>
            <a:ext cx="3467100" cy="3605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87692" y="2122312"/>
            <a:ext cx="3184481" cy="820208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19891" y="2122311"/>
            <a:ext cx="3189732" cy="822960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406652" y="2944368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032247" y="2944813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Freeform 1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rot="60000">
            <a:off x="4844035" y="603504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 rot="21540000">
            <a:off x="812293" y="576072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9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201391" y="2020043"/>
            <a:ext cx="3320229" cy="1503037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60000">
            <a:off x="5258815" y="1150993"/>
            <a:ext cx="3272525" cy="4625489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3803" y="3623748"/>
            <a:ext cx="3302965" cy="2100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0173" y="588567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67" y="5829262"/>
            <a:ext cx="3816158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87089" y="5896962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Freeform 3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07147" y="575769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 rot="60000">
            <a:off x="4836833" y="603920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5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98626" y="2020824"/>
            <a:ext cx="3318510" cy="1499616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60000">
            <a:off x="5306833" y="1207272"/>
            <a:ext cx="3156685" cy="4539412"/>
          </a:xfrm>
          <a:ln w="101600" cap="rnd">
            <a:solidFill>
              <a:srgbClr val="FFFFFF"/>
            </a:solidFill>
          </a:ln>
          <a:effectLst>
            <a:outerShdw blurRad="889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8156" y="3621024"/>
            <a:ext cx="3298698" cy="210312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4764" y="5888738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84" y="5831038"/>
            <a:ext cx="3595630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92263" y="5900027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681038" y="6069330"/>
            <a:ext cx="8581074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92480" y="575310"/>
            <a:ext cx="8337550" cy="5715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92480" y="576072"/>
            <a:ext cx="8337550" cy="5715000"/>
          </a:xfrm>
          <a:prstGeom prst="rect">
            <a:avLst/>
          </a:prstGeom>
          <a:blipFill dpi="0" rotWithShape="1">
            <a:blip r:embed="rId16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1435684">
            <a:off x="589053" y="273091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4096196">
            <a:off x="8814958" y="274541"/>
            <a:ext cx="566928" cy="614172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6276" y="817583"/>
            <a:ext cx="7545682" cy="1202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4961" y="2119257"/>
            <a:ext cx="6712772" cy="36038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92471" y="5809153"/>
            <a:ext cx="1314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7.02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1" y="5809153"/>
            <a:ext cx="60018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9386" y="5809153"/>
            <a:ext cx="6001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8" name="Слайд think-cell" r:id="rId18" imgW="443" imgH="443" progId="TCLayout.ActiveDocument.1">
                  <p:embed/>
                </p:oleObj>
              </mc:Choice>
              <mc:Fallback>
                <p:oleObj name="Слайд think-cell" r:id="rId18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3.xml"/><Relationship Id="rId7" Type="http://schemas.openxmlformats.org/officeDocument/2006/relationships/image" Target="../media/image3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2.xml"/><Relationship Id="rId3" Type="http://schemas.openxmlformats.org/officeDocument/2006/relationships/tags" Target="../tags/tag25.xml"/><Relationship Id="rId7" Type="http://schemas.openxmlformats.org/officeDocument/2006/relationships/oleObject" Target="../embeddings/oleObject12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7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11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12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11.jpeg"/><Relationship Id="rId2" Type="http://schemas.openxmlformats.org/officeDocument/2006/relationships/tags" Target="../tags/tag8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9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1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6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88904" y="130282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704528" y="386878"/>
            <a:ext cx="8514566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87559" y="521502"/>
            <a:ext cx="90730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2655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48544" y="5669730"/>
            <a:ext cx="82653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8 февраля 2023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24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09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76673" y="1233214"/>
            <a:ext cx="8312693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 smtClean="0"/>
              <a:t>Аварии </a:t>
            </a:r>
            <a:r>
              <a:rPr lang="ru-RU" sz="2000" b="0" u="sng" dirty="0"/>
              <a:t>за </a:t>
            </a:r>
            <a:r>
              <a:rPr lang="ru-RU" sz="2000" b="0" u="sng" dirty="0" smtClean="0"/>
              <a:t>2022 </a:t>
            </a:r>
            <a:r>
              <a:rPr lang="ru-RU" sz="2000" b="0" u="sng" dirty="0"/>
              <a:t>г</a:t>
            </a:r>
            <a:r>
              <a:rPr lang="ru-RU" sz="2000" b="0" u="sng" dirty="0" smtClean="0"/>
              <a:t>.:</a:t>
            </a:r>
          </a:p>
          <a:p>
            <a:endParaRPr lang="ru-RU" sz="800" b="0" dirty="0"/>
          </a:p>
          <a:p>
            <a:r>
              <a:rPr lang="ru-RU" sz="1600" b="0" dirty="0" smtClean="0"/>
              <a:t>1. 18.02.2022 </a:t>
            </a:r>
            <a:r>
              <a:rPr lang="ru-RU" sz="1600" b="0" dirty="0"/>
              <a:t>– АО «РУСАЛ», Новокузнецкий Алюминиевый завод, Кем. обл., </a:t>
            </a:r>
            <a:endParaRPr lang="ru-RU" sz="1600" b="0" dirty="0" smtClean="0"/>
          </a:p>
          <a:p>
            <a:r>
              <a:rPr lang="ru-RU" sz="1600" b="0" dirty="0" smtClean="0"/>
              <a:t>г</a:t>
            </a:r>
            <a:r>
              <a:rPr lang="ru-RU" sz="1600" b="0" dirty="0"/>
              <a:t>. Новокузнецк, обесточена нагрузка величиной 146 МВт, пострадавших нет</a:t>
            </a:r>
            <a:r>
              <a:rPr lang="ru-RU" sz="1600" b="0" dirty="0" smtClean="0"/>
              <a:t>.</a:t>
            </a:r>
          </a:p>
          <a:p>
            <a:endParaRPr lang="ru-RU" sz="1600" b="0" dirty="0"/>
          </a:p>
          <a:p>
            <a:r>
              <a:rPr lang="ru-RU" sz="1600" b="0" dirty="0"/>
              <a:t>2. 08.05.2022 - ООО «</a:t>
            </a:r>
            <a:r>
              <a:rPr lang="ru-RU" sz="1600" b="0" dirty="0" err="1"/>
              <a:t>Техногазсервис</a:t>
            </a:r>
            <a:r>
              <a:rPr lang="ru-RU" sz="1600" b="0" dirty="0"/>
              <a:t>» на ОПО «станция газозаправочная автомобильная» (Алтайский край, г. Новоалтайск) произошло воспламенение газовой смеси с </a:t>
            </a:r>
            <a:r>
              <a:rPr lang="ru-RU" sz="1600" b="0" dirty="0" smtClean="0"/>
              <a:t>последующим </a:t>
            </a:r>
            <a:r>
              <a:rPr lang="ru-RU" sz="1600" b="0" dirty="0"/>
              <a:t>взрывом газовых баллонов - 1 смертельный. </a:t>
            </a:r>
            <a:endParaRPr lang="ru-RU" sz="1600" b="0" dirty="0" smtClean="0"/>
          </a:p>
          <a:p>
            <a:endParaRPr lang="ru-RU" sz="1600" b="0" dirty="0"/>
          </a:p>
          <a:p>
            <a:r>
              <a:rPr lang="ru-RU" sz="1600" b="0" dirty="0"/>
              <a:t>3. 25.07.2022 - ООО «ПИК» (г. Томск) опрокидывание автомобильного крана при ремонте коммунального моста, пострадавших нет.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4</a:t>
            </a:r>
            <a:r>
              <a:rPr lang="ru-RU" sz="1600" b="0" dirty="0"/>
              <a:t>. 29.07.2022 - АО «ЕВРАЗ ЗСМК», (Кем. обл., г. Новокузнецк) разрыв линии кислорода с последующим пожаром, пострадавших нет.</a:t>
            </a:r>
          </a:p>
          <a:p>
            <a:endParaRPr lang="ru-RU" sz="1600" b="0" dirty="0"/>
          </a:p>
          <a:p>
            <a:r>
              <a:rPr lang="ru-RU" sz="2000" b="0" u="sng" dirty="0"/>
              <a:t>Групповые случаи </a:t>
            </a:r>
            <a:r>
              <a:rPr lang="ru-RU" sz="2000" b="0" u="sng" dirty="0" smtClean="0"/>
              <a:t>2022 </a:t>
            </a:r>
            <a:r>
              <a:rPr lang="ru-RU" sz="2000" b="0" u="sng" dirty="0"/>
              <a:t>г.:  </a:t>
            </a:r>
            <a:endParaRPr lang="ru-RU" sz="2000" b="0" u="sng" dirty="0" smtClean="0"/>
          </a:p>
          <a:p>
            <a:endParaRPr lang="ru-RU" sz="800" b="0" u="sng" dirty="0" smtClean="0"/>
          </a:p>
          <a:p>
            <a:r>
              <a:rPr lang="ru-RU" sz="1600" b="0" dirty="0"/>
              <a:t>1. 05.07.2022 АО «Распадская-Коксовая» (г. Междуреченск, Кем. обл.) деформация пород кровли и бортов горной выработки, вывал горной массы, в результате </a:t>
            </a:r>
            <a:r>
              <a:rPr lang="ru-RU" sz="1600" b="0" dirty="0" err="1"/>
              <a:t>сейсмособытия</a:t>
            </a:r>
            <a:r>
              <a:rPr lang="ru-RU" sz="1600" b="0" dirty="0"/>
              <a:t> –                     2 легких, 1 тяжелый, 1 смертельный</a:t>
            </a:r>
            <a:r>
              <a:rPr lang="ru-RU" sz="1600" b="0" dirty="0" smtClean="0"/>
              <a:t>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1933859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4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1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3999" y="580526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5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9581" y="-19534"/>
              <a:ext cx="4315393" cy="1253196"/>
              <a:chOff x="39581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9581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9649" y="585929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308532" y="761781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</a:t>
            </a:r>
            <a:r>
              <a:rPr kumimoji="0" lang="ru-RU" sz="2000" b="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 АНКЕТЕ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15" name="Picture 3" descr="C:\Users\derksenod\Desktop\Подготовка к публичному меропр - 3\Доклад Веселова\для подготовки\1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9908" y="961836"/>
            <a:ext cx="4094719" cy="5283995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640632" y="5072725"/>
            <a:ext cx="34094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/>
              <a:t>discussions@gosnadzor42.ru</a:t>
            </a:r>
            <a:endParaRPr lang="ru-RU" sz="2000" dirty="0"/>
          </a:p>
        </p:txBody>
      </p:sp>
      <p:pic>
        <p:nvPicPr>
          <p:cNvPr id="16" name="Picture 2" descr="C:\Users\derksenod\Desktop\Подготовка к публичному меропр - 3\Доклад Веселова\для подготовки\image_image_286562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9384" y="5589240"/>
            <a:ext cx="1331533" cy="116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1" name="Picture 9" descr="https://clipart-best.com/img/email/email-clip-art-4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732" y="4830431"/>
            <a:ext cx="1021472" cy="101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20552" y="1237541"/>
            <a:ext cx="353714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Образец </a:t>
            </a:r>
            <a:r>
              <a:rPr lang="ru-RU" sz="2000" b="0" dirty="0">
                <a:latin typeface="Arial Narrow" panose="020B0606020202030204" pitchFamily="34" charset="0"/>
              </a:rPr>
              <a:t>анкеты участника публичного обсуждения размещен </a:t>
            </a:r>
            <a:r>
              <a:rPr lang="ru-RU" sz="2000" b="0" dirty="0" smtClean="0">
                <a:latin typeface="Arial Narrow" panose="020B0606020202030204" pitchFamily="34" charset="0"/>
              </a:rPr>
              <a:t>на </a:t>
            </a:r>
            <a:r>
              <a:rPr lang="ru-RU" sz="2000" b="0" dirty="0">
                <a:latin typeface="Arial Narrow" panose="020B0606020202030204" pitchFamily="34" charset="0"/>
              </a:rPr>
              <a:t>официальном сайте Сибирского управления Ростехнадзора 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68980" y="2866651"/>
            <a:ext cx="47810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0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929927" y="3903173"/>
            <a:ext cx="32965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Адрес электронной почты для отправки заполненных анкет участника:</a:t>
            </a:r>
            <a:endParaRPr lang="ru-RU" sz="2000" b="0" dirty="0"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920552" y="3790157"/>
            <a:ext cx="38976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2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19932" y="1598164"/>
            <a:ext cx="761593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2022 год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авоприменительной практике на объектах нефтегазового </a:t>
            </a:r>
            <a:r>
              <a:rPr lang="ru-RU" sz="2000" dirty="0" smtClean="0">
                <a:latin typeface="Arial Narrow" panose="020B0606020202030204" pitchFamily="34" charset="0"/>
              </a:rPr>
              <a:t>комплекса в </a:t>
            </a:r>
            <a:r>
              <a:rPr lang="ru-RU" sz="2000" dirty="0">
                <a:latin typeface="Arial Narrow" panose="020B0606020202030204" pitchFamily="34" charset="0"/>
              </a:rPr>
              <a:t>2022 году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авоприменительной практике на металлургических и коксохимических производствах в 2022 году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облемных вопросах, возникающих при осуществлении контрольно-надзорной деятельности на указанных объектах.</a:t>
            </a:r>
            <a:endParaRPr lang="ru-RU" sz="2000" dirty="0" smtClean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61963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56490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3446629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027" y="4341433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9" y="64193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19" y="591628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" y="1320655"/>
            <a:ext cx="9129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0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5663007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1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7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836"/>
            <a:ext cx="8915400" cy="1150378"/>
            <a:chOff x="35496" y="36949"/>
            <a:chExt cx="9107488" cy="1196713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10245" y="36949"/>
              <a:ext cx="4315393" cy="1196713"/>
              <a:chOff x="110245" y="36949"/>
              <a:chExt cx="4315393" cy="1196713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10245" y="36949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4960" y="592195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59696" y="1704210"/>
            <a:ext cx="518261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400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и, осуществляющие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102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</a:t>
            </a:r>
            <a:r>
              <a:rPr lang="ru-RU" sz="1400" b="1" i="1">
                <a:latin typeface="Arial Narrow" panose="020B0606020202030204" pitchFamily="34" charset="0"/>
                <a:cs typeface="Times New Roman" panose="02020603050405020304" pitchFamily="18" charset="0"/>
              </a:rPr>
              <a:t>производственных </a:t>
            </a:r>
            <a:r>
              <a:rPr lang="ru-RU" sz="1400" b="1" i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</a:t>
            </a:r>
            <a:r>
              <a:rPr lang="ru-RU" sz="1400" i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(в </a:t>
            </a:r>
            <a:r>
              <a:rPr lang="ru-RU" sz="1400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ом числе: М – 79, НХ – 320, НД – </a:t>
            </a:r>
            <a:r>
              <a:rPr lang="ru-RU" sz="1400" i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314);</a:t>
            </a:r>
            <a:endParaRPr lang="ru-RU" sz="1400" b="1" i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7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21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коло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6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8242537"/>
              </p:ext>
            </p:extLst>
          </p:nvPr>
        </p:nvGraphicFramePr>
        <p:xfrm>
          <a:off x="3512840" y="5594491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96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276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02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5663" name="Picture 63" descr="https://vsednr.ru/wp-content/uploads/2021/04/ochistnoy-zabo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1233214"/>
            <a:ext cx="2758789" cy="18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65" name="Picture 65" descr="https://img-fotki.yandex.ru/get/6814/51604349.144/0_bf9ba_64df8e6c_ori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3060155"/>
            <a:ext cx="2758789" cy="205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6" y="5133086"/>
            <a:ext cx="2782602" cy="157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46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4967424"/>
              </p:ext>
            </p:extLst>
          </p:nvPr>
        </p:nvGraphicFramePr>
        <p:xfrm>
          <a:off x="784045" y="1340768"/>
          <a:ext cx="8345418" cy="4387959"/>
        </p:xfrm>
        <a:graphic>
          <a:graphicData uri="http://schemas.openxmlformats.org/drawingml/2006/table">
            <a:tbl>
              <a:tblPr/>
              <a:tblGrid>
                <a:gridCol w="588224"/>
                <a:gridCol w="3443558"/>
                <a:gridCol w="1078409"/>
                <a:gridCol w="1078409"/>
                <a:gridCol w="1078409"/>
                <a:gridCol w="1078409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 %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проверок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овых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план.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.надзор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выявленных наруш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5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5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административных наказа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сквалификац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Д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упрежд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х штрафов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ережени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8294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5250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33044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зысканных административных штрафов (тыс.рублей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1193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0462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0731,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76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8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72162"/>
              </p:ext>
            </p:extLst>
          </p:nvPr>
        </p:nvGraphicFramePr>
        <p:xfrm>
          <a:off x="784044" y="1556792"/>
          <a:ext cx="8345420" cy="4104970"/>
        </p:xfrm>
        <a:graphic>
          <a:graphicData uri="http://schemas.openxmlformats.org/drawingml/2006/table">
            <a:tbl>
              <a:tblPr/>
              <a:tblGrid>
                <a:gridCol w="608685"/>
                <a:gridCol w="3235652"/>
                <a:gridCol w="1500361"/>
                <a:gridCol w="1500361"/>
                <a:gridCol w="1500361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Э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ГТ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6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0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9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4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остережени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7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321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9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лей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70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446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10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1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03802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</a:t>
            </a: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и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существлении государственного надзора в сфере промышленной безопасности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7173341"/>
              </p:ext>
            </p:extLst>
          </p:nvPr>
        </p:nvGraphicFramePr>
        <p:xfrm>
          <a:off x="784046" y="1628800"/>
          <a:ext cx="8345417" cy="4629564"/>
        </p:xfrm>
        <a:graphic>
          <a:graphicData uri="http://schemas.openxmlformats.org/drawingml/2006/table">
            <a:tbl>
              <a:tblPr/>
              <a:tblGrid>
                <a:gridCol w="356614"/>
                <a:gridCol w="1472519"/>
                <a:gridCol w="589002"/>
                <a:gridCol w="477165"/>
                <a:gridCol w="477165"/>
                <a:gridCol w="335507"/>
                <a:gridCol w="347933"/>
                <a:gridCol w="350418"/>
                <a:gridCol w="357873"/>
                <a:gridCol w="357873"/>
                <a:gridCol w="318110"/>
                <a:gridCol w="318110"/>
                <a:gridCol w="357873"/>
                <a:gridCol w="357873"/>
                <a:gridCol w="367814"/>
                <a:gridCol w="365330"/>
                <a:gridCol w="407580"/>
                <a:gridCol w="410063"/>
                <a:gridCol w="320595"/>
              </a:tblGrid>
              <a:tr h="27692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сего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6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 видам надзора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79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П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3771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07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55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77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65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2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585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0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6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6335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03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4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тыс.рублей)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7081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59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02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4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262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51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90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3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342593"/>
            <a:ext cx="8208912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ru-RU" sz="2000" b="0" u="sng" dirty="0" smtClean="0"/>
              <a:t>2022 </a:t>
            </a:r>
            <a:r>
              <a:rPr lang="ru-RU" sz="2000" b="0" u="sng" dirty="0"/>
              <a:t>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endParaRPr lang="ru-RU" sz="2000" b="0" dirty="0"/>
          </a:p>
          <a:p>
            <a:r>
              <a:rPr lang="ru-RU" sz="1600" b="0" dirty="0" smtClean="0"/>
              <a:t>1. 22.01.2022 - ООО «Шахта «</a:t>
            </a:r>
            <a:r>
              <a:rPr lang="ru-RU" sz="1600" b="0" dirty="0" err="1" smtClean="0"/>
              <a:t>Осинниковская</a:t>
            </a:r>
            <a:r>
              <a:rPr lang="ru-RU" sz="1600" b="0" dirty="0" smtClean="0"/>
              <a:t>», г. Осинники, удар козырьком секции механизированной крепи - 1 смертельный;</a:t>
            </a:r>
          </a:p>
          <a:p>
            <a:endParaRPr lang="ru-RU" sz="800" b="0" dirty="0" smtClean="0"/>
          </a:p>
          <a:p>
            <a:r>
              <a:rPr lang="ru-RU" sz="1600" b="0" dirty="0" smtClean="0"/>
              <a:t>2. 10.03.2022 - АО «ЕВРАЗ ЗСМК», г. Новокузнецк, прижимание электровозом к колонне -</a:t>
            </a:r>
          </a:p>
          <a:p>
            <a:r>
              <a:rPr lang="ru-RU" sz="1600" b="0" dirty="0" smtClean="0"/>
              <a:t>1 смертельный;</a:t>
            </a:r>
          </a:p>
          <a:p>
            <a:endParaRPr lang="ru-RU" sz="800" b="0" dirty="0" smtClean="0"/>
          </a:p>
          <a:p>
            <a:r>
              <a:rPr lang="ru-RU" sz="1600" b="0" dirty="0" smtClean="0"/>
              <a:t>3. 24.03.2022 - ООО «Шахта «</a:t>
            </a:r>
            <a:r>
              <a:rPr lang="ru-RU" sz="1600" b="0" dirty="0" err="1" smtClean="0"/>
              <a:t>Осинниковская</a:t>
            </a:r>
            <a:r>
              <a:rPr lang="ru-RU" sz="1600" b="0" dirty="0" smtClean="0"/>
              <a:t>», г. Осинники, выдавливание угля с повышенным выделением метана - 1 смертельный;</a:t>
            </a:r>
          </a:p>
          <a:p>
            <a:endParaRPr lang="ru-RU" sz="800" b="0" dirty="0" smtClean="0"/>
          </a:p>
          <a:p>
            <a:r>
              <a:rPr lang="ru-RU" sz="1600" b="0" dirty="0" smtClean="0"/>
              <a:t>4. 25.04.2022 - АО «ОУК </a:t>
            </a:r>
            <a:r>
              <a:rPr lang="ru-RU" sz="1600" b="0" dirty="0" err="1" smtClean="0"/>
              <a:t>Южкузбассуголь</a:t>
            </a:r>
            <a:r>
              <a:rPr lang="ru-RU" sz="1600" b="0" dirty="0" smtClean="0"/>
              <a:t>» Филиал «Шахта Ерунаковская-8», </a:t>
            </a:r>
          </a:p>
          <a:p>
            <a:r>
              <a:rPr lang="ru-RU" sz="1600" b="0" dirty="0" smtClean="0"/>
              <a:t>г. Новокузнецк, прорыв воды, пульпы на транспортном уклоне - 1 смертельный;</a:t>
            </a:r>
          </a:p>
          <a:p>
            <a:endParaRPr lang="ru-RU" sz="800" b="0" dirty="0" smtClean="0"/>
          </a:p>
          <a:p>
            <a:r>
              <a:rPr lang="ru-RU" sz="1600" b="0" dirty="0" smtClean="0"/>
              <a:t>5. 08.05.2022 в ООО «</a:t>
            </a:r>
            <a:r>
              <a:rPr lang="ru-RU" sz="1600" b="0" dirty="0" err="1" smtClean="0"/>
              <a:t>Техногазсервис</a:t>
            </a:r>
            <a:r>
              <a:rPr lang="ru-RU" sz="1600" b="0" dirty="0" smtClean="0"/>
              <a:t>» на ОПО «станция газозаправочная автомобильная»,</a:t>
            </a:r>
          </a:p>
          <a:p>
            <a:r>
              <a:rPr lang="ru-RU" sz="1600" b="0" dirty="0" smtClean="0"/>
              <a:t>г. Новоалтайск, произошло воспламенение газовой смеси с последующим взрывом газовых баллонов - 1 смертельный;</a:t>
            </a:r>
          </a:p>
          <a:p>
            <a:endParaRPr lang="ru-RU" sz="800" b="0" dirty="0" smtClean="0"/>
          </a:p>
          <a:p>
            <a:r>
              <a:rPr lang="ru-RU" sz="1600" b="0" dirty="0" smtClean="0"/>
              <a:t>6. 10.05.2022 в ООО СП «</a:t>
            </a:r>
            <a:r>
              <a:rPr lang="ru-RU" sz="1600" b="0" dirty="0" err="1" smtClean="0"/>
              <a:t>Барзасское</a:t>
            </a:r>
            <a:r>
              <a:rPr lang="ru-RU" sz="1600" b="0" dirty="0" smtClean="0"/>
              <a:t> товарищество» на ОПО «разрез угольный» участок «Гусинский Южный», г. Березовский, произошло опрокидывание автомобиля БЕЛАЗ с уступа высотой 40 метров - 1 смертельный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8215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32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342593"/>
            <a:ext cx="820891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ru-RU" sz="2000" b="0" u="sng" dirty="0" smtClean="0"/>
              <a:t>2022 </a:t>
            </a:r>
            <a:r>
              <a:rPr lang="ru-RU" sz="2000" b="0" u="sng" dirty="0"/>
              <a:t>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endParaRPr lang="ru-RU" sz="2000" b="0" dirty="0"/>
          </a:p>
          <a:p>
            <a:r>
              <a:rPr lang="ru-RU" sz="1600" b="0" dirty="0"/>
              <a:t>7. 05.07.2022 АО «Распадская-Коксовая» (г. Междуреченск, Кем. обл.) деформация пород кровли и бортов горной выработки, вывал горной массы - 1 смертельный.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8</a:t>
            </a:r>
            <a:r>
              <a:rPr lang="ru-RU" sz="1600" b="0" dirty="0"/>
              <a:t>. 04.08.2022 в АО «ЕВРАЗ ЗСМК» </a:t>
            </a:r>
            <a:r>
              <a:rPr lang="ru-RU" sz="1600" b="0" dirty="0" err="1"/>
              <a:t>Таштагольская</a:t>
            </a:r>
            <a:r>
              <a:rPr lang="ru-RU" sz="1600" b="0" dirty="0"/>
              <a:t> шахта (Кем. обл., г. Таштагол) падение из кабины электровоза – 1 смертельный.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9</a:t>
            </a:r>
            <a:r>
              <a:rPr lang="ru-RU" sz="1600" b="0" dirty="0"/>
              <a:t>. 05.08.2022 в АО «СИБИРЬ-ПОЛИМЕТАЛЛЫ» </a:t>
            </a:r>
            <a:r>
              <a:rPr lang="ru-RU" sz="1600" b="0" dirty="0" err="1"/>
              <a:t>Корбалихинский</a:t>
            </a:r>
            <a:r>
              <a:rPr lang="ru-RU" sz="1600" b="0" dirty="0"/>
              <a:t> рудник (Алтайский край, пос. </a:t>
            </a:r>
            <a:r>
              <a:rPr lang="ru-RU" sz="1600" b="0" dirty="0" err="1"/>
              <a:t>Беспаловский</a:t>
            </a:r>
            <a:r>
              <a:rPr lang="ru-RU" sz="1600" b="0" dirty="0"/>
              <a:t>) придавлен к борту выработки самоходной машиной – 1 смертельный</a:t>
            </a:r>
            <a:r>
              <a:rPr lang="ru-RU" sz="1600" b="0" dirty="0" smtClean="0"/>
              <a:t>.</a:t>
            </a:r>
          </a:p>
          <a:p>
            <a:endParaRPr lang="ru-RU" sz="1600" b="0" dirty="0"/>
          </a:p>
          <a:p>
            <a:r>
              <a:rPr lang="ru-RU" sz="1600" b="0" dirty="0"/>
              <a:t>10. 02.12.2022 – ПАО «Кокс» Кем. обл. г. Кемерово, работник коксового цеха был  травмирован проезжающим тушильным вагоном – 1 смертельный. </a:t>
            </a:r>
          </a:p>
          <a:p>
            <a:endParaRPr lang="ru-RU" sz="1600" b="0" dirty="0" smtClean="0"/>
          </a:p>
          <a:p>
            <a:r>
              <a:rPr lang="ru-RU" sz="1600" b="0" dirty="0" smtClean="0"/>
              <a:t>11</a:t>
            </a:r>
            <a:r>
              <a:rPr lang="ru-RU" sz="1600" b="0" dirty="0"/>
              <a:t>. 30.12.2022 – ПАО «Южный Кузбасс» шахта </a:t>
            </a:r>
            <a:r>
              <a:rPr lang="ru-RU" sz="1600" b="0" dirty="0" err="1"/>
              <a:t>Сибиргинская</a:t>
            </a:r>
            <a:r>
              <a:rPr lang="ru-RU" sz="1600" b="0" dirty="0"/>
              <a:t> (г. Междуреченск, Кем. обл.) при монтаже лебедкой цепи на забойный конвейер, пострадавший был затянут цепью под рештак конвейера – 1 смертельный</a:t>
            </a:r>
            <a:r>
              <a:rPr lang="ru-RU" sz="1600" b="0" dirty="0" smtClean="0"/>
              <a:t>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150740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Кнопка">
  <a:themeElements>
    <a:clrScheme name="Кнопка">
      <a:dk1>
        <a:sysClr val="windowText" lastClr="000000"/>
      </a:dk1>
      <a:lt1>
        <a:sysClr val="window" lastClr="FFFFFF"/>
      </a:lt1>
      <a:dk2>
        <a:srgbClr val="465E9C"/>
      </a:dk2>
      <a:lt2>
        <a:srgbClr val="CCDDEA"/>
      </a:lt2>
      <a:accent1>
        <a:srgbClr val="FDA023"/>
      </a:accent1>
      <a:accent2>
        <a:srgbClr val="AA2B1E"/>
      </a:accent2>
      <a:accent3>
        <a:srgbClr val="71685C"/>
      </a:accent3>
      <a:accent4>
        <a:srgbClr val="64A73B"/>
      </a:accent4>
      <a:accent5>
        <a:srgbClr val="EB5605"/>
      </a:accent5>
      <a:accent6>
        <a:srgbClr val="B9CA1A"/>
      </a:accent6>
      <a:hlink>
        <a:srgbClr val="D83E2C"/>
      </a:hlink>
      <a:folHlink>
        <a:srgbClr val="ED7D27"/>
      </a:folHlink>
    </a:clrScheme>
    <a:fontScheme name="Кнопка">
      <a:majorFont>
        <a:latin typeface="Constantia"/>
        <a:ea typeface=""/>
        <a:cs typeface=""/>
        <a:font script="Jpan" typeface="HGS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Grek" typeface="Arial"/>
        <a:font script="Cyrl" typeface="Arial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нопк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>
            <a:tint val="93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satMod val="140000"/>
                <a:lumMod val="50000"/>
              </a:schemeClr>
              <a:schemeClr val="phClr">
                <a:tint val="95000"/>
                <a:satMod val="180000"/>
                <a:lumMod val="160000"/>
              </a:schemeClr>
            </a:duotone>
          </a:blip>
          <a:stretch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  <a:shade val="90000"/>
                <a:satMod val="120000"/>
                <a:lumMod val="54000"/>
              </a:schemeClr>
              <a:schemeClr val="phClr">
                <a:tint val="80000"/>
                <a:satMod val="160000"/>
                <a:lumMod val="14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ushpin</Template>
  <TotalTime>20898</TotalTime>
  <Words>1308</Words>
  <Application>Microsoft Office PowerPoint</Application>
  <PresentationFormat>Лист A4 (210x297 мм)</PresentationFormat>
  <Paragraphs>485</Paragraphs>
  <Slides>12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Кнопка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Дерксен Ольга Дмитриевна</cp:lastModifiedBy>
  <cp:revision>1216</cp:revision>
  <cp:lastPrinted>2020-12-16T06:16:08Z</cp:lastPrinted>
  <dcterms:created xsi:type="dcterms:W3CDTF">2012-04-16T06:44:06Z</dcterms:created>
  <dcterms:modified xsi:type="dcterms:W3CDTF">2023-02-27T06:37:48Z</dcterms:modified>
</cp:coreProperties>
</file>